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62" r:id="rId2"/>
    <p:sldId id="259" r:id="rId3"/>
    <p:sldId id="258" r:id="rId4"/>
    <p:sldId id="260" r:id="rId5"/>
    <p:sldId id="261" r:id="rId6"/>
  </p:sldIdLst>
  <p:sldSz cx="20104100" cy="1130935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62" userDrawn="1">
          <p15:clr>
            <a:srgbClr val="A4A3A4"/>
          </p15:clr>
        </p15:guide>
        <p15:guide id="2" pos="3157" userDrawn="1">
          <p15:clr>
            <a:srgbClr val="A4A3A4"/>
          </p15:clr>
        </p15:guide>
        <p15:guide id="3" pos="6332" userDrawn="1">
          <p15:clr>
            <a:srgbClr val="A4A3A4"/>
          </p15:clr>
        </p15:guide>
        <p15:guide id="7" pos="950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50FF"/>
    <a:srgbClr val="0048C6"/>
    <a:srgbClr val="F0E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59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888" y="90"/>
      </p:cViewPr>
      <p:guideLst>
        <p:guide orient="horz" pos="3562"/>
        <p:guide pos="3157"/>
        <p:guide pos="6332"/>
        <p:guide pos="950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45200D-C028-40AE-A4AC-B77A254100A2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8A0B73-C566-4F13-B8BF-E879054F34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065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8491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065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1654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2524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310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32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386996" y="602118"/>
            <a:ext cx="4334947" cy="95841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82157" y="602118"/>
            <a:ext cx="12753538" cy="95841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2779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366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86" y="2819485"/>
            <a:ext cx="17339786" cy="4704375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86" y="7568366"/>
            <a:ext cx="1733978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826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2157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77700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265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602119"/>
            <a:ext cx="17339786" cy="2185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4776" y="2772362"/>
            <a:ext cx="850497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84776" y="4131054"/>
            <a:ext cx="8504976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177701" y="2772362"/>
            <a:ext cx="8546861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177701" y="4131054"/>
            <a:ext cx="8546861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65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410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246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2787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546861" y="1628338"/>
            <a:ext cx="10177701" cy="8036969"/>
          </a:xfrm>
        </p:spPr>
        <p:txBody>
          <a:bodyPr anchor="t"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1494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6DCD92-27E0-4561-9D26-9E3AD3B4DCCF}" type="datetimeFigureOut">
              <a:rPr lang="ru-RU" smtClean="0"/>
              <a:t>04.04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97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4" imgW="344" imgH="344" progId="TCLayout.ActiveDocument.1">
                  <p:embed/>
                </p:oleObj>
              </mc:Choice>
              <mc:Fallback>
                <p:oleObj name="Слайд think-cell" r:id="rId4" imgW="344" imgH="344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/>
          <p:nvPr/>
        </p:nvSpPr>
        <p:spPr>
          <a:xfrm>
            <a:off x="733408" y="3879860"/>
            <a:ext cx="18757701" cy="3549630"/>
          </a:xfrm>
          <a:custGeom>
            <a:avLst/>
            <a:gdLst/>
            <a:ahLst/>
            <a:cxnLst/>
            <a:rect l="l" t="t" r="r" b="b"/>
            <a:pathLst>
              <a:path w="9450070" h="2097404">
                <a:moveTo>
                  <a:pt x="8400897" y="0"/>
                </a:moveTo>
                <a:lnTo>
                  <a:pt x="1048575" y="0"/>
                </a:lnTo>
                <a:lnTo>
                  <a:pt x="1000766" y="1084"/>
                </a:lnTo>
                <a:lnTo>
                  <a:pt x="953489" y="4306"/>
                </a:lnTo>
                <a:lnTo>
                  <a:pt x="906792" y="9617"/>
                </a:lnTo>
                <a:lnTo>
                  <a:pt x="860722" y="16972"/>
                </a:lnTo>
                <a:lnTo>
                  <a:pt x="815327" y="26323"/>
                </a:lnTo>
                <a:lnTo>
                  <a:pt x="770653" y="37622"/>
                </a:lnTo>
                <a:lnTo>
                  <a:pt x="726747" y="50822"/>
                </a:lnTo>
                <a:lnTo>
                  <a:pt x="683658" y="65877"/>
                </a:lnTo>
                <a:lnTo>
                  <a:pt x="641431" y="82738"/>
                </a:lnTo>
                <a:lnTo>
                  <a:pt x="600115" y="101359"/>
                </a:lnTo>
                <a:lnTo>
                  <a:pt x="559756" y="121693"/>
                </a:lnTo>
                <a:lnTo>
                  <a:pt x="520402" y="143692"/>
                </a:lnTo>
                <a:lnTo>
                  <a:pt x="482100" y="167310"/>
                </a:lnTo>
                <a:lnTo>
                  <a:pt x="444897" y="192498"/>
                </a:lnTo>
                <a:lnTo>
                  <a:pt x="408839" y="219210"/>
                </a:lnTo>
                <a:lnTo>
                  <a:pt x="373976" y="247399"/>
                </a:lnTo>
                <a:lnTo>
                  <a:pt x="340353" y="277017"/>
                </a:lnTo>
                <a:lnTo>
                  <a:pt x="308017" y="308017"/>
                </a:lnTo>
                <a:lnTo>
                  <a:pt x="277017" y="340353"/>
                </a:lnTo>
                <a:lnTo>
                  <a:pt x="247399" y="373976"/>
                </a:lnTo>
                <a:lnTo>
                  <a:pt x="219210" y="408839"/>
                </a:lnTo>
                <a:lnTo>
                  <a:pt x="192498" y="444897"/>
                </a:lnTo>
                <a:lnTo>
                  <a:pt x="167310" y="482100"/>
                </a:lnTo>
                <a:lnTo>
                  <a:pt x="143692" y="520402"/>
                </a:lnTo>
                <a:lnTo>
                  <a:pt x="121693" y="559756"/>
                </a:lnTo>
                <a:lnTo>
                  <a:pt x="101359" y="600115"/>
                </a:lnTo>
                <a:lnTo>
                  <a:pt x="82738" y="641431"/>
                </a:lnTo>
                <a:lnTo>
                  <a:pt x="65877" y="683658"/>
                </a:lnTo>
                <a:lnTo>
                  <a:pt x="50822" y="726747"/>
                </a:lnTo>
                <a:lnTo>
                  <a:pt x="37622" y="770653"/>
                </a:lnTo>
                <a:lnTo>
                  <a:pt x="26323" y="815327"/>
                </a:lnTo>
                <a:lnTo>
                  <a:pt x="16972" y="860722"/>
                </a:lnTo>
                <a:lnTo>
                  <a:pt x="9617" y="906792"/>
                </a:lnTo>
                <a:lnTo>
                  <a:pt x="4306" y="953489"/>
                </a:lnTo>
                <a:lnTo>
                  <a:pt x="1084" y="1000766"/>
                </a:lnTo>
                <a:lnTo>
                  <a:pt x="0" y="1048575"/>
                </a:lnTo>
                <a:lnTo>
                  <a:pt x="1084" y="1096384"/>
                </a:lnTo>
                <a:lnTo>
                  <a:pt x="4306" y="1143661"/>
                </a:lnTo>
                <a:lnTo>
                  <a:pt x="9617" y="1190358"/>
                </a:lnTo>
                <a:lnTo>
                  <a:pt x="16972" y="1236428"/>
                </a:lnTo>
                <a:lnTo>
                  <a:pt x="26323" y="1281823"/>
                </a:lnTo>
                <a:lnTo>
                  <a:pt x="37622" y="1326497"/>
                </a:lnTo>
                <a:lnTo>
                  <a:pt x="50822" y="1370403"/>
                </a:lnTo>
                <a:lnTo>
                  <a:pt x="65877" y="1413492"/>
                </a:lnTo>
                <a:lnTo>
                  <a:pt x="82738" y="1455719"/>
                </a:lnTo>
                <a:lnTo>
                  <a:pt x="101359" y="1497035"/>
                </a:lnTo>
                <a:lnTo>
                  <a:pt x="121693" y="1537394"/>
                </a:lnTo>
                <a:lnTo>
                  <a:pt x="143692" y="1576748"/>
                </a:lnTo>
                <a:lnTo>
                  <a:pt x="167310" y="1615050"/>
                </a:lnTo>
                <a:lnTo>
                  <a:pt x="192498" y="1652253"/>
                </a:lnTo>
                <a:lnTo>
                  <a:pt x="219210" y="1688311"/>
                </a:lnTo>
                <a:lnTo>
                  <a:pt x="247399" y="1723174"/>
                </a:lnTo>
                <a:lnTo>
                  <a:pt x="277017" y="1756797"/>
                </a:lnTo>
                <a:lnTo>
                  <a:pt x="308017" y="1789133"/>
                </a:lnTo>
                <a:lnTo>
                  <a:pt x="340353" y="1820133"/>
                </a:lnTo>
                <a:lnTo>
                  <a:pt x="373976" y="1849751"/>
                </a:lnTo>
                <a:lnTo>
                  <a:pt x="408839" y="1877940"/>
                </a:lnTo>
                <a:lnTo>
                  <a:pt x="444897" y="1904652"/>
                </a:lnTo>
                <a:lnTo>
                  <a:pt x="482100" y="1929840"/>
                </a:lnTo>
                <a:lnTo>
                  <a:pt x="520402" y="1953458"/>
                </a:lnTo>
                <a:lnTo>
                  <a:pt x="559756" y="1975457"/>
                </a:lnTo>
                <a:lnTo>
                  <a:pt x="600115" y="1995791"/>
                </a:lnTo>
                <a:lnTo>
                  <a:pt x="641431" y="2014412"/>
                </a:lnTo>
                <a:lnTo>
                  <a:pt x="683658" y="2031273"/>
                </a:lnTo>
                <a:lnTo>
                  <a:pt x="726747" y="2046328"/>
                </a:lnTo>
                <a:lnTo>
                  <a:pt x="770653" y="2059528"/>
                </a:lnTo>
                <a:lnTo>
                  <a:pt x="815327" y="2070827"/>
                </a:lnTo>
                <a:lnTo>
                  <a:pt x="860722" y="2080178"/>
                </a:lnTo>
                <a:lnTo>
                  <a:pt x="906792" y="2087533"/>
                </a:lnTo>
                <a:lnTo>
                  <a:pt x="953489" y="2092844"/>
                </a:lnTo>
                <a:lnTo>
                  <a:pt x="1000766" y="2096066"/>
                </a:lnTo>
                <a:lnTo>
                  <a:pt x="1048575" y="2097150"/>
                </a:lnTo>
                <a:lnTo>
                  <a:pt x="8400897" y="2097150"/>
                </a:lnTo>
                <a:lnTo>
                  <a:pt x="8448706" y="2096066"/>
                </a:lnTo>
                <a:lnTo>
                  <a:pt x="8495983" y="2092844"/>
                </a:lnTo>
                <a:lnTo>
                  <a:pt x="8542680" y="2087533"/>
                </a:lnTo>
                <a:lnTo>
                  <a:pt x="8588750" y="2080178"/>
                </a:lnTo>
                <a:lnTo>
                  <a:pt x="8634145" y="2070827"/>
                </a:lnTo>
                <a:lnTo>
                  <a:pt x="8678819" y="2059528"/>
                </a:lnTo>
                <a:lnTo>
                  <a:pt x="8722725" y="2046328"/>
                </a:lnTo>
                <a:lnTo>
                  <a:pt x="8765814" y="2031273"/>
                </a:lnTo>
                <a:lnTo>
                  <a:pt x="8808041" y="2014412"/>
                </a:lnTo>
                <a:lnTo>
                  <a:pt x="8849357" y="1995791"/>
                </a:lnTo>
                <a:lnTo>
                  <a:pt x="8889716" y="1975457"/>
                </a:lnTo>
                <a:lnTo>
                  <a:pt x="8929070" y="1953458"/>
                </a:lnTo>
                <a:lnTo>
                  <a:pt x="8967372" y="1929840"/>
                </a:lnTo>
                <a:lnTo>
                  <a:pt x="9004576" y="1904652"/>
                </a:lnTo>
                <a:lnTo>
                  <a:pt x="9040633" y="1877940"/>
                </a:lnTo>
                <a:lnTo>
                  <a:pt x="9075496" y="1849751"/>
                </a:lnTo>
                <a:lnTo>
                  <a:pt x="9109119" y="1820133"/>
                </a:lnTo>
                <a:lnTo>
                  <a:pt x="9141455" y="1789133"/>
                </a:lnTo>
                <a:lnTo>
                  <a:pt x="9172455" y="1756797"/>
                </a:lnTo>
                <a:lnTo>
                  <a:pt x="9202073" y="1723174"/>
                </a:lnTo>
                <a:lnTo>
                  <a:pt x="9230262" y="1688311"/>
                </a:lnTo>
                <a:lnTo>
                  <a:pt x="9256974" y="1652253"/>
                </a:lnTo>
                <a:lnTo>
                  <a:pt x="9282162" y="1615050"/>
                </a:lnTo>
                <a:lnTo>
                  <a:pt x="9305780" y="1576748"/>
                </a:lnTo>
                <a:lnTo>
                  <a:pt x="9327779" y="1537394"/>
                </a:lnTo>
                <a:lnTo>
                  <a:pt x="9348113" y="1497035"/>
                </a:lnTo>
                <a:lnTo>
                  <a:pt x="9366734" y="1455719"/>
                </a:lnTo>
                <a:lnTo>
                  <a:pt x="9383595" y="1413492"/>
                </a:lnTo>
                <a:lnTo>
                  <a:pt x="9398650" y="1370403"/>
                </a:lnTo>
                <a:lnTo>
                  <a:pt x="9411850" y="1326497"/>
                </a:lnTo>
                <a:lnTo>
                  <a:pt x="9423149" y="1281823"/>
                </a:lnTo>
                <a:lnTo>
                  <a:pt x="9432500" y="1236428"/>
                </a:lnTo>
                <a:lnTo>
                  <a:pt x="9439855" y="1190358"/>
                </a:lnTo>
                <a:lnTo>
                  <a:pt x="9445166" y="1143661"/>
                </a:lnTo>
                <a:lnTo>
                  <a:pt x="9448388" y="1096384"/>
                </a:lnTo>
                <a:lnTo>
                  <a:pt x="9449473" y="1048575"/>
                </a:lnTo>
                <a:lnTo>
                  <a:pt x="9448388" y="1000766"/>
                </a:lnTo>
                <a:lnTo>
                  <a:pt x="9445166" y="953489"/>
                </a:lnTo>
                <a:lnTo>
                  <a:pt x="9439855" y="906792"/>
                </a:lnTo>
                <a:lnTo>
                  <a:pt x="9432500" y="860722"/>
                </a:lnTo>
                <a:lnTo>
                  <a:pt x="9423149" y="815327"/>
                </a:lnTo>
                <a:lnTo>
                  <a:pt x="9411850" y="770653"/>
                </a:lnTo>
                <a:lnTo>
                  <a:pt x="9398650" y="726747"/>
                </a:lnTo>
                <a:lnTo>
                  <a:pt x="9383595" y="683658"/>
                </a:lnTo>
                <a:lnTo>
                  <a:pt x="9366734" y="641431"/>
                </a:lnTo>
                <a:lnTo>
                  <a:pt x="9348113" y="600115"/>
                </a:lnTo>
                <a:lnTo>
                  <a:pt x="9327779" y="559756"/>
                </a:lnTo>
                <a:lnTo>
                  <a:pt x="9305780" y="520402"/>
                </a:lnTo>
                <a:lnTo>
                  <a:pt x="9282162" y="482100"/>
                </a:lnTo>
                <a:lnTo>
                  <a:pt x="9256974" y="444897"/>
                </a:lnTo>
                <a:lnTo>
                  <a:pt x="9230262" y="408839"/>
                </a:lnTo>
                <a:lnTo>
                  <a:pt x="9202073" y="373976"/>
                </a:lnTo>
                <a:lnTo>
                  <a:pt x="9172455" y="340353"/>
                </a:lnTo>
                <a:lnTo>
                  <a:pt x="9141455" y="308017"/>
                </a:lnTo>
                <a:lnTo>
                  <a:pt x="9109119" y="277017"/>
                </a:lnTo>
                <a:lnTo>
                  <a:pt x="9075496" y="247399"/>
                </a:lnTo>
                <a:lnTo>
                  <a:pt x="9040633" y="219210"/>
                </a:lnTo>
                <a:lnTo>
                  <a:pt x="9004576" y="192498"/>
                </a:lnTo>
                <a:lnTo>
                  <a:pt x="8967372" y="167310"/>
                </a:lnTo>
                <a:lnTo>
                  <a:pt x="8929070" y="143692"/>
                </a:lnTo>
                <a:lnTo>
                  <a:pt x="8889716" y="121693"/>
                </a:lnTo>
                <a:lnTo>
                  <a:pt x="8849357" y="101359"/>
                </a:lnTo>
                <a:lnTo>
                  <a:pt x="8808041" y="82738"/>
                </a:lnTo>
                <a:lnTo>
                  <a:pt x="8765814" y="65877"/>
                </a:lnTo>
                <a:lnTo>
                  <a:pt x="8722725" y="50822"/>
                </a:lnTo>
                <a:lnTo>
                  <a:pt x="8678819" y="37622"/>
                </a:lnTo>
                <a:lnTo>
                  <a:pt x="8634145" y="26323"/>
                </a:lnTo>
                <a:lnTo>
                  <a:pt x="8588750" y="16972"/>
                </a:lnTo>
                <a:lnTo>
                  <a:pt x="8542680" y="9617"/>
                </a:lnTo>
                <a:lnTo>
                  <a:pt x="8495983" y="4306"/>
                </a:lnTo>
                <a:lnTo>
                  <a:pt x="8448706" y="1084"/>
                </a:lnTo>
                <a:lnTo>
                  <a:pt x="8400897" y="0"/>
                </a:lnTo>
                <a:close/>
              </a:path>
            </a:pathLst>
          </a:custGeom>
          <a:solidFill>
            <a:srgbClr val="8C50FF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2691"/>
          </a:p>
        </p:txBody>
      </p:sp>
      <p:sp>
        <p:nvSpPr>
          <p:cNvPr id="4" name="TextBox 3"/>
          <p:cNvSpPr txBox="1"/>
          <p:nvPr/>
        </p:nvSpPr>
        <p:spPr>
          <a:xfrm>
            <a:off x="5077455" y="4455643"/>
            <a:ext cx="10069616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06713" algn="ctr">
              <a:spcBef>
                <a:spcPts val="3589"/>
              </a:spcBef>
            </a:pP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упки малого объема </a:t>
            </a:r>
            <a:b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4 простых шага</a:t>
            </a:r>
            <a:endParaRPr lang="ru-RU" sz="2000" kern="0" spc="7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6" y="731485"/>
            <a:ext cx="6043396" cy="1394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8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54436" y="345932"/>
            <a:ext cx="1710443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1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Авторизуйтесь на </a:t>
            </a:r>
            <a:r>
              <a:rPr lang="ru-RU" sz="4800" dirty="0">
                <a:solidFill>
                  <a:schemeClr val="accent1"/>
                </a:solidFill>
                <a:latin typeface="+mj-lt"/>
              </a:rPr>
              <a:t>Цифровой платформе МСП.РФ</a:t>
            </a:r>
            <a:endParaRPr lang="en-ID" sz="4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2</a:t>
            </a:fld>
            <a:endParaRPr lang="en-ID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87" y="1719247"/>
            <a:ext cx="18075981" cy="9147069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478303" y="5078439"/>
            <a:ext cx="11310424" cy="256032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52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020" y="1277091"/>
            <a:ext cx="18035883" cy="957899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3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2455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ru-RU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2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ыберите сервис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«Витрина закупок малого объема»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>
          <a:xfrm>
            <a:off x="1280162" y="9445092"/>
            <a:ext cx="3826411" cy="103961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35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4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3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ерейдите к закупкам и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выберите параметры поиска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886264" y="1192683"/>
            <a:ext cx="16603935" cy="9663405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1280162" y="4375052"/>
            <a:ext cx="3826411" cy="666210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500471" y="5584874"/>
            <a:ext cx="11662113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86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5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4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Откройте карточку закупки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для подачи заявки на ЭТП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980676" y="1147869"/>
            <a:ext cx="16603935" cy="9663405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13856678" y="9718108"/>
            <a:ext cx="3727934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93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Mai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EF0"/>
      </a:accent1>
      <a:accent2>
        <a:srgbClr val="FF6464"/>
      </a:accent2>
      <a:accent3>
        <a:srgbClr val="E6D7C8"/>
      </a:accent3>
      <a:accent4>
        <a:srgbClr val="191919"/>
      </a:accent4>
      <a:accent5>
        <a:srgbClr val="50CDFF"/>
      </a:accent5>
      <a:accent6>
        <a:srgbClr val="7DCDA0"/>
      </a:accent6>
      <a:hlink>
        <a:srgbClr val="FFB464"/>
      </a:hlink>
      <a:folHlink>
        <a:srgbClr val="FFFFFF"/>
      </a:folHlink>
    </a:clrScheme>
    <a:fontScheme name="Main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6</TotalTime>
  <Words>56</Words>
  <Application>Microsoft Office PowerPoint</Application>
  <PresentationFormat>Произвольный</PresentationFormat>
  <Paragraphs>13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1" baseType="lpstr">
      <vt:lpstr>Arial</vt:lpstr>
      <vt:lpstr>Calibri</vt:lpstr>
      <vt:lpstr>Segoe UI</vt:lpstr>
      <vt:lpstr>Segoe UI Black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чегов Михаил Александрович</dc:creator>
  <cp:lastModifiedBy>Охрименко Алексей Викторович</cp:lastModifiedBy>
  <cp:revision>55</cp:revision>
  <dcterms:created xsi:type="dcterms:W3CDTF">2021-11-19T11:56:11Z</dcterms:created>
  <dcterms:modified xsi:type="dcterms:W3CDTF">2022-04-04T12:15:24Z</dcterms:modified>
</cp:coreProperties>
</file>